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5"/>
  </p:notesMasterIdLst>
  <p:handoutMasterIdLst>
    <p:handoutMasterId r:id="rId16"/>
  </p:handoutMasterIdLst>
  <p:sldIdLst>
    <p:sldId id="424" r:id="rId3"/>
    <p:sldId id="374" r:id="rId4"/>
    <p:sldId id="425" r:id="rId5"/>
    <p:sldId id="430" r:id="rId6"/>
    <p:sldId id="426" r:id="rId7"/>
    <p:sldId id="431" r:id="rId8"/>
    <p:sldId id="434" r:id="rId9"/>
    <p:sldId id="427" r:id="rId10"/>
    <p:sldId id="432" r:id="rId11"/>
    <p:sldId id="433" r:id="rId12"/>
    <p:sldId id="428" r:id="rId13"/>
    <p:sldId id="429" r:id="rId14"/>
  </p:sldIdLst>
  <p:sldSz cx="9906000" cy="6858000" type="A4"/>
  <p:notesSz cx="9866313" cy="6735763"/>
  <p:custDataLst>
    <p:tags r:id="rId17"/>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143" autoAdjust="0"/>
    <p:restoredTop sz="50000" autoAdjust="0"/>
  </p:normalViewPr>
  <p:slideViewPr>
    <p:cSldViewPr snapToObjects="1">
      <p:cViewPr varScale="1">
        <p:scale>
          <a:sx n="122" d="100"/>
          <a:sy n="122" d="100"/>
        </p:scale>
        <p:origin x="816" y="192"/>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2</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2</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dirty="0">
                <a:latin typeface="Arial" panose="020B0604020202020204" pitchFamily="34" charset="0"/>
                <a:cs typeface="Arial" panose="020B0604020202020204" pitchFamily="34" charset="0"/>
              </a:rPr>
              <a:t>2018.07.22</a:t>
            </a: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低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低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少な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小さい</a:t>
            </a:r>
            <a:endParaRPr kumimoji="1" lang="en-US" altLang="ja-JP" sz="1600" b="0" dirty="0">
              <a:solidFill>
                <a:schemeClr val="tx2"/>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3138</TotalTime>
  <Words>638</Words>
  <Application>Microsoft Macintosh PowerPoint</Application>
  <PresentationFormat>A4 210 x 297 mm</PresentationFormat>
  <Paragraphs>103</Paragraphs>
  <Slides>12</Slides>
  <Notes>11</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2</vt:i4>
      </vt:variant>
    </vt:vector>
  </HeadingPairs>
  <TitlesOfParts>
    <vt:vector size="23" baseType="lpstr">
      <vt:lpstr>MS PGothic</vt:lpstr>
      <vt:lpstr>MS PGothic</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References</vt:lpstr>
    </vt:vector>
  </TitlesOfParts>
  <Company>Roland Berger Strategy Consultants</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木村正成</cp:lastModifiedBy>
  <cp:revision>408</cp:revision>
  <cp:lastPrinted>2015-06-26T03:44:41Z</cp:lastPrinted>
  <dcterms:created xsi:type="dcterms:W3CDTF">2014-09-02T08:14:27Z</dcterms:created>
  <dcterms:modified xsi:type="dcterms:W3CDTF">2018-07-24T03:00:36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